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5"/>
  </p:notesMasterIdLst>
  <p:handoutMasterIdLst>
    <p:handoutMasterId r:id="rId16"/>
  </p:handoutMasterIdLst>
  <p:sldIdLst>
    <p:sldId id="256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9" autoAdjust="0"/>
    <p:restoredTop sz="94660"/>
  </p:normalViewPr>
  <p:slideViewPr>
    <p:cSldViewPr snapToGrid="0">
      <p:cViewPr varScale="1">
        <p:scale>
          <a:sx n="88" d="100"/>
          <a:sy n="88" d="100"/>
        </p:scale>
        <p:origin x="1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E5606-14F6-4340-AA6C-C3A41A40A3D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626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E5606-14F6-4340-AA6C-C3A41A40A3D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901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4E5606-14F6-4340-AA6C-C3A41A40A3DB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809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smtClean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11. april 2011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y Powerpoint mal 2011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AF9A1-4DE5-0A45-B83C-18B0A47232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29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smtClean="0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smtClean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 smtClean="0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=""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enhetssider/los/ea/eas-prosjekthandbok/sikkerhet-helse-og-arbeidsmiljo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hent.no/webkamera/1548/K2_000M.jpg" TargetMode="Externa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 smtClean="0"/>
              <a:t>Status statlige investeringsprosjekter og medvirkning i byggeprosjekter</a:t>
            </a:r>
            <a:br>
              <a:rPr lang="nb-NO" sz="2800" dirty="0" smtClean="0"/>
            </a:br>
            <a:endParaRPr lang="nb-NO" sz="2800" dirty="0"/>
          </a:p>
        </p:txBody>
      </p:sp>
      <p:sp>
        <p:nvSpPr>
          <p:cNvPr id="5" name="Undertit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Leif Johnny Johannessen</a:t>
            </a: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 smtClean="0"/>
              <a:t>Plan og prosjekt</a:t>
            </a:r>
            <a:endParaRPr lang="nb-NO" dirty="0"/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 smtClean="0"/>
              <a:t>Eiendomsavdelingen</a:t>
            </a:r>
            <a:endParaRPr lang="nb-NO" dirty="0"/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dirty="0"/>
              <a:t>19. september </a:t>
            </a:r>
            <a:r>
              <a:rPr lang="nb-NO" dirty="0" smtClean="0"/>
              <a:t>2022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Presentasjon AMU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7641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7568" y="332656"/>
            <a:ext cx="7696200" cy="1143000"/>
          </a:xfrm>
        </p:spPr>
        <p:txBody>
          <a:bodyPr/>
          <a:lstStyle/>
          <a:p>
            <a:r>
              <a:rPr lang="nb-NO" dirty="0" smtClean="0"/>
              <a:t>AMU, EA og Byggesaker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5560" y="1628800"/>
            <a:ext cx="8280920" cy="4114800"/>
          </a:xfrm>
        </p:spPr>
        <p:txBody>
          <a:bodyPr/>
          <a:lstStyle/>
          <a:p>
            <a:pPr marL="0" indent="0">
              <a:buNone/>
            </a:pPr>
            <a:r>
              <a:rPr lang="nb-NO" sz="2000" dirty="0"/>
              <a:t>EAs intensjon:</a:t>
            </a:r>
          </a:p>
          <a:p>
            <a:r>
              <a:rPr lang="nb-NO" sz="2000" dirty="0"/>
              <a:t>Alle krav i Plan- og bygningsloven, Arbeidsmiljøloven, tekniske forskrifter mv. skal innfris i EAs byggeprosjekter</a:t>
            </a:r>
          </a:p>
          <a:p>
            <a:r>
              <a:rPr lang="nb-NO" sz="2000" dirty="0"/>
              <a:t>EA skal medvirke til at krav i Hovedavtalen og Tilpasningsavtalen ivaretas</a:t>
            </a:r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r>
              <a:rPr lang="nb-NO" sz="2000" dirty="0"/>
              <a:t>EAs forutsetning:</a:t>
            </a:r>
          </a:p>
          <a:p>
            <a:r>
              <a:rPr lang="nb-NO" sz="2000" dirty="0"/>
              <a:t>Enhetene forankrer prosjektet/behovet i egen enhet. Ved innledende planlegging </a:t>
            </a:r>
            <a:r>
              <a:rPr lang="nb-NO" sz="2000" b="1" u="sng" dirty="0"/>
              <a:t>pålegges</a:t>
            </a:r>
            <a:r>
              <a:rPr lang="nb-NO" sz="2000" dirty="0"/>
              <a:t> enhetene å involvere lokalt VO, organisasjonene og studentene. I tillegg må enhetene involvere BHT der det er behov for dette.</a:t>
            </a:r>
          </a:p>
          <a:p>
            <a:r>
              <a:rPr lang="nb-NO" sz="2000" dirty="0"/>
              <a:t>EA har en «påse»-plikt for å sikre at ovennevnte ivaretas</a:t>
            </a:r>
          </a:p>
          <a:p>
            <a:pPr marL="0" indent="0">
              <a:buNone/>
            </a:pPr>
            <a:endParaRPr lang="nb-NO" sz="2000" dirty="0" smtClean="0"/>
          </a:p>
          <a:p>
            <a:pPr marL="0" indent="0">
              <a:buNone/>
            </a:pPr>
            <a:endParaRPr lang="nb-NO" sz="20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143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9576" y="764704"/>
            <a:ext cx="7696200" cy="1143000"/>
          </a:xfrm>
        </p:spPr>
        <p:txBody>
          <a:bodyPr/>
          <a:lstStyle/>
          <a:p>
            <a:r>
              <a:rPr lang="nb-NO" dirty="0" smtClean="0"/>
              <a:t>Byggesaker og prosess</a:t>
            </a:r>
            <a:r>
              <a:rPr lang="nb-NO" sz="2000" dirty="0"/>
              <a:t/>
            </a:r>
            <a:br>
              <a:rPr lang="nb-NO" sz="2000" dirty="0"/>
            </a:br>
            <a:endParaRPr lang="nb-NO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5560" y="1628800"/>
            <a:ext cx="8280920" cy="4114800"/>
          </a:xfrm>
        </p:spPr>
        <p:txBody>
          <a:bodyPr/>
          <a:lstStyle/>
          <a:p>
            <a:r>
              <a:rPr lang="nb-NO" dirty="0" smtClean="0"/>
              <a:t>Kfr. prosjekthåndboken! (</a:t>
            </a:r>
            <a:r>
              <a:rPr lang="nb-NO" dirty="0">
                <a:hlinkClick r:id="rId3"/>
              </a:rPr>
              <a:t>Sikkerhet, helse og arbeidsmiljø (SHA) - For ansatte - Universitetet i Oslo (uio.no)</a:t>
            </a:r>
            <a:endParaRPr lang="nb-NO" dirty="0" smtClean="0"/>
          </a:p>
          <a:p>
            <a:r>
              <a:rPr lang="nb-NO" dirty="0" smtClean="0"/>
              <a:t>EA forutsetter at medvirkningen koordineres gjennom enhetens representant i byggesaken («enhetskoordinatoren»)</a:t>
            </a:r>
          </a:p>
          <a:p>
            <a:endParaRPr lang="nb-NO" b="1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008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6768" y="836712"/>
            <a:ext cx="8957000" cy="1143000"/>
          </a:xfrm>
        </p:spPr>
        <p:txBody>
          <a:bodyPr/>
          <a:lstStyle/>
          <a:p>
            <a:r>
              <a:rPr lang="nb-NO" dirty="0"/>
              <a:t>Byggesaker </a:t>
            </a:r>
            <a:r>
              <a:rPr lang="nb-NO" dirty="0" smtClean="0"/>
              <a:t>- Enhets-koordinatoren og EA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539480" y="2333481"/>
            <a:ext cx="3457595" cy="4114800"/>
          </a:xfrm>
        </p:spPr>
        <p:txBody>
          <a:bodyPr/>
          <a:lstStyle/>
          <a:p>
            <a:pPr marL="0" indent="0">
              <a:buNone/>
            </a:pPr>
            <a:r>
              <a:rPr lang="nb-NO" sz="2000" dirty="0"/>
              <a:t>EAs prosjektleder:</a:t>
            </a:r>
          </a:p>
          <a:p>
            <a:r>
              <a:rPr lang="nb-NO" sz="2000" dirty="0"/>
              <a:t>Representerer EA </a:t>
            </a:r>
          </a:p>
          <a:p>
            <a:r>
              <a:rPr lang="nb-NO" sz="2000" dirty="0"/>
              <a:t>Er tiltakshaver-/byggherre</a:t>
            </a:r>
          </a:p>
          <a:p>
            <a:r>
              <a:rPr lang="nb-NO" sz="2000" dirty="0"/>
              <a:t>Leder og styrer prosjekterings- og byggeprosess</a:t>
            </a:r>
          </a:p>
          <a:p>
            <a:r>
              <a:rPr lang="nb-NO" sz="2000" dirty="0"/>
              <a:t>Støtter enhetskoordinatoren i dialog i enheten</a:t>
            </a:r>
          </a:p>
          <a:p>
            <a:endParaRPr lang="nb-NO" sz="20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892" y="2780928"/>
            <a:ext cx="2038220" cy="2878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65848" y="2348881"/>
            <a:ext cx="406862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/>
              <a:t>Enhets-koordinatore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Representerer enh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Involverer enhetens medarbeidere og stud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Involverer VO, organisasjonene og </a:t>
            </a:r>
            <a:r>
              <a:rPr lang="nb-NO" sz="2000" dirty="0" err="1"/>
              <a:t>evt</a:t>
            </a:r>
            <a:r>
              <a:rPr lang="nb-NO" sz="2000" dirty="0"/>
              <a:t> BH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Sørger for informasjons-utveksling internt</a:t>
            </a:r>
          </a:p>
        </p:txBody>
      </p:sp>
    </p:spTree>
    <p:extLst>
      <p:ext uri="{BB962C8B-B14F-4D97-AF65-F5344CB8AC3E}">
        <p14:creationId xmlns:p14="http://schemas.microsoft.com/office/powerpoint/2010/main" val="27025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94432" y="445062"/>
            <a:ext cx="10515600" cy="699577"/>
          </a:xfrm>
        </p:spPr>
        <p:txBody>
          <a:bodyPr/>
          <a:lstStyle/>
          <a:p>
            <a:r>
              <a:rPr lang="nb-NO" dirty="0" smtClean="0"/>
              <a:t>Byggeplass LVB </a:t>
            </a:r>
            <a:r>
              <a:rPr lang="nb-NO" sz="2400" dirty="0" smtClean="0"/>
              <a:t>(</a:t>
            </a:r>
            <a:r>
              <a:rPr lang="nb-NO" sz="2400" dirty="0">
                <a:hlinkClick r:id="rId2"/>
              </a:rPr>
              <a:t>K2_000M.jpg (3840×2160) (hent.no)</a:t>
            </a:r>
            <a:r>
              <a:rPr lang="nb-NO" sz="2400" dirty="0" smtClean="0"/>
              <a:t/>
            </a:r>
            <a:br>
              <a:rPr lang="nb-NO" sz="2400" dirty="0" smtClean="0"/>
            </a:b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11. april 2011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0899" y="1743307"/>
            <a:ext cx="8658350" cy="4885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860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94432" y="428878"/>
            <a:ext cx="10515600" cy="715761"/>
          </a:xfrm>
        </p:spPr>
        <p:txBody>
          <a:bodyPr/>
          <a:lstStyle/>
          <a:p>
            <a:r>
              <a:rPr lang="nb-NO" dirty="0" smtClean="0"/>
              <a:t>VTM – opprinnelig prosjekt 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3237" y="996714"/>
            <a:ext cx="9543766" cy="5266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4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76240" y="380326"/>
            <a:ext cx="9733791" cy="764313"/>
          </a:xfrm>
        </p:spPr>
        <p:txBody>
          <a:bodyPr/>
          <a:lstStyle/>
          <a:p>
            <a:r>
              <a:rPr lang="nb-NO" dirty="0" smtClean="0"/>
              <a:t>VTM2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690" y="1584691"/>
            <a:ext cx="9345397" cy="4209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75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pic>
        <p:nvPicPr>
          <p:cNvPr id="1026" name="D27DDE3C-7C63-4337-B3B3-1E96A57C0F06" descr="IMG_042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144774" y="1285707"/>
            <a:ext cx="5622032" cy="4216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21507CB0-48A3-474E-86C6-B459FD3A1692" descr="IMG_309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538473" y="1284497"/>
            <a:ext cx="5612340" cy="4209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27805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AF9A1-4DE5-0A45-B83C-18B0A47232C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pic>
        <p:nvPicPr>
          <p:cNvPr id="2050" name="37434F3A-C014-4108-A5CD-3C4DDBAFA210" descr="IMG_306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117171" y="1279037"/>
            <a:ext cx="5266795" cy="3950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149267" y="1279390"/>
            <a:ext cx="5277843" cy="396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996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5a9c032-1c21-4297-bc4a-1b0e359a6c15"/>
    <ds:schemaRef ds:uri="http://purl.org/dc/terms/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8</TotalTime>
  <Words>225</Words>
  <Application>Microsoft Office PowerPoint</Application>
  <PresentationFormat>Widescreen</PresentationFormat>
  <Paragraphs>43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Arial, sans-serif</vt:lpstr>
      <vt:lpstr>Calibri</vt:lpstr>
      <vt:lpstr>Wingdings</vt:lpstr>
      <vt:lpstr>Office-tema</vt:lpstr>
      <vt:lpstr>think-cell Slide</vt:lpstr>
      <vt:lpstr>Status statlige investeringsprosjekter og medvirkning i byggeprosjekter </vt:lpstr>
      <vt:lpstr>AMU, EA og Byggesaker</vt:lpstr>
      <vt:lpstr>Byggesaker og prosess </vt:lpstr>
      <vt:lpstr>Byggesaker - Enhets-koordinatoren og EA</vt:lpstr>
      <vt:lpstr>Byggeplass LVB (K2_000M.jpg (3840×2160) (hent.no) </vt:lpstr>
      <vt:lpstr>VTM – opprinnelig prosjekt </vt:lpstr>
      <vt:lpstr>VTM2</vt:lpstr>
      <vt:lpstr>PowerPoint Presentation</vt:lpstr>
      <vt:lpstr>PowerPoint Presentati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statlige investeringsprosjekter og medvirkning i byggeprosjekter</dc:title>
  <dc:creator>Leif Johnny Johannessen</dc:creator>
  <cp:lastModifiedBy>Gro Merethe Lund</cp:lastModifiedBy>
  <cp:revision>5</cp:revision>
  <dcterms:created xsi:type="dcterms:W3CDTF">2022-09-12T13:18:20Z</dcterms:created>
  <dcterms:modified xsi:type="dcterms:W3CDTF">2022-09-13T12:5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